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3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521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07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D19D865-754C-4E97-A09C-65BA31630F86}" v="6" dt="2026-02-11T15:41:34.9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563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531" y="86"/>
      </p:cViewPr>
      <p:guideLst>
        <p:guide orient="horz" pos="3838"/>
        <p:guide pos="937"/>
        <p:guide pos="6743"/>
        <p:guide orient="horz" pos="1185"/>
        <p:guide pos="7333"/>
        <p:guide orient="horz" pos="3521"/>
        <p:guide orient="horz" pos="640"/>
        <p:guide pos="1232"/>
        <p:guide orient="horz" pos="3770"/>
        <p:guide orient="horz" pos="1412"/>
        <p:guide pos="2252"/>
        <p:guide pos="4974"/>
        <p:guide orient="horz" pos="3407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1T15:42:56.245" v="22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1T15:42:56.245" v="22" actId="27918"/>
        <pc:sldMkLst>
          <pc:docMk/>
          <pc:sldMk cId="2624746743" sldId="403"/>
        </pc:sldMkLst>
        <pc:spChg chg="mod">
          <ac:chgData name="Weigel Stefan (PAR-EPS)" userId="fd3b2067-2981-4ad8-bf3a-d2e1004e4fa8" providerId="ADAL" clId="{A4CFA2F4-FF8D-446B-B271-6DF568DBEADA}" dt="2026-02-11T15:39:22.926" v="5" actId="20577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2-11T15:39:31.030" v="6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2-11T15:39:42.957" v="7"/>
          <ac:spMkLst>
            <pc:docMk/>
            <pc:sldMk cId="2624746743" sldId="403"/>
            <ac:spMk id="10" creationId="{00000000-0000-0000-0000-000000000000}"/>
          </ac:spMkLst>
        </pc:spChg>
        <pc:graphicFrameChg chg="mod">
          <ac:chgData name="Weigel Stefan (PAR-EPS)" userId="fd3b2067-2981-4ad8-bf3a-d2e1004e4fa8" providerId="ADAL" clId="{A4CFA2F4-FF8D-446B-B271-6DF568DBEADA}" dt="2026-02-11T15:41:34.936" v="20"/>
          <ac:graphicFrameMkLst>
            <pc:docMk/>
            <pc:sldMk cId="2624746743" sldId="403"/>
            <ac:graphicFrameMk id="6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92126384163587"/>
          <c:y val="9.1785047991304089E-2"/>
          <c:w val="0.78539345807650462"/>
          <c:h val="0.61373971229810032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Anteile an der Herkunft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952-46D1-9677-A139C7E6AA68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952-46D1-9677-A139C7E6AA68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952-46D1-9677-A139C7E6AA68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3952-46D1-9677-A139C7E6AA68}"/>
              </c:ext>
            </c:extLst>
          </c:dPt>
          <c:dPt>
            <c:idx val="4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3952-46D1-9677-A139C7E6AA68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3952-46D1-9677-A139C7E6AA68}"/>
              </c:ext>
            </c:extLst>
          </c:dPt>
          <c:cat>
            <c:strRef>
              <c:f>data!$F$3:$F$7</c:f>
              <c:strCache>
                <c:ptCount val="5"/>
                <c:pt idx="0">
                  <c:v>Production 16,7 Hz</c:v>
                </c:pt>
                <c:pt idx="1">
                  <c:v>Alimentation 16,7 Hz</c:v>
                </c:pt>
                <c:pt idx="2">
                  <c:v>Production et 50 Hz</c:v>
                </c:pt>
                <c:pt idx="3">
                  <c:v>Alimentation 50 Hz</c:v>
                </c:pt>
                <c:pt idx="4">
                  <c:v>Achat sur le marché et échange en termes nets</c:v>
                </c:pt>
              </c:strCache>
            </c:strRef>
          </c:cat>
          <c:val>
            <c:numRef>
              <c:f>data!$G$3:$G$7</c:f>
              <c:numCache>
                <c:formatCode>0.0</c:formatCode>
                <c:ptCount val="5"/>
                <c:pt idx="0">
                  <c:v>1793.703</c:v>
                </c:pt>
                <c:pt idx="1">
                  <c:v>122.61499999999999</c:v>
                </c:pt>
                <c:pt idx="2">
                  <c:v>97.3</c:v>
                </c:pt>
                <c:pt idx="3">
                  <c:v>719.12300000000005</c:v>
                </c:pt>
                <c:pt idx="4">
                  <c:v>56.854999999999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52-46D1-9677-A139C7E6A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.12041781393297334"/>
          <c:y val="0.75801932818606144"/>
          <c:w val="0.78068520787811857"/>
          <c:h val="0.24198067181393851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36386806010843E-2"/>
          <c:y val="3.6938713342205089E-2"/>
          <c:w val="0.61248872300955337"/>
          <c:h val="0.62912756188397911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Anteile an der Verwendung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53D-45BB-97FB-0A84E0E6166D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53D-45BB-97FB-0A84E0E6166D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53D-45BB-97FB-0A84E0E6166D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553D-45BB-97FB-0A84E0E6166D}"/>
              </c:ext>
            </c:extLst>
          </c:dPt>
          <c:dPt>
            <c:idx val="4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553D-45BB-97FB-0A84E0E6166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553D-45BB-97FB-0A84E0E6166D}"/>
              </c:ext>
            </c:extLst>
          </c:dPt>
          <c:cat>
            <c:strRef>
              <c:f>data!$F$3:$F$6</c:f>
              <c:strCache>
                <c:ptCount val="4"/>
                <c:pt idx="0">
                  <c:v>Exploitation ferroviaire CFF</c:v>
                </c:pt>
                <c:pt idx="1">
                  <c:v>Exploitation ferroviaire de tiers</c:v>
                </c:pt>
                <c:pt idx="2">
                  <c:v>Consommation propre et pertes</c:v>
                </c:pt>
                <c:pt idx="3">
                  <c:v>Actionnement des pompes</c:v>
                </c:pt>
              </c:strCache>
            </c:strRef>
          </c:cat>
          <c:val>
            <c:numRef>
              <c:f>data!$G$3:$G$6</c:f>
              <c:numCache>
                <c:formatCode>0.0</c:formatCode>
                <c:ptCount val="4"/>
                <c:pt idx="0">
                  <c:v>2061.5340000000001</c:v>
                </c:pt>
                <c:pt idx="1">
                  <c:v>265.62799999999999</c:v>
                </c:pt>
                <c:pt idx="2">
                  <c:v>156.31100000000001</c:v>
                </c:pt>
                <c:pt idx="3">
                  <c:v>179.942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53D-45BB-97FB-0A84E0E616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"/>
          <c:y val="0.72221040485023724"/>
          <c:w val="0.563584481199919"/>
          <c:h val="0.20144958757587222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D85F2E-7777-467D-97E5-7BF199074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D85F2E-7777-467D-97E5-7BF199074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1DB2EFA-8FDF-4ECB-B7CD-4DF763EE788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Énergie électrique pour l’exploitation ferroviaire en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858473237"/>
              </p:ext>
            </p:extLst>
          </p:nvPr>
        </p:nvGraphicFramePr>
        <p:xfrm>
          <a:off x="1462357" y="1401635"/>
          <a:ext cx="4130834" cy="5286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874696813"/>
              </p:ext>
            </p:extLst>
          </p:nvPr>
        </p:nvGraphicFramePr>
        <p:xfrm>
          <a:off x="6095999" y="1700808"/>
          <a:ext cx="5297291" cy="5157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955800" y="152078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lvl="0">
              <a:defRPr/>
            </a:pPr>
            <a:r>
              <a:rPr lang="fr-CH" sz="1100" dirty="0">
                <a:solidFill>
                  <a:srgbClr val="444444"/>
                </a:solidFill>
                <a:cs typeface="Arial" pitchFamily="34" charset="0"/>
              </a:rPr>
              <a:t>Parts de la provenance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280788" y="1525442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lvl="0">
              <a:defRPr/>
            </a:pPr>
            <a:r>
              <a:rPr lang="fr-CH" sz="1100" dirty="0">
                <a:solidFill>
                  <a:srgbClr val="444444"/>
                </a:solidFill>
                <a:cs typeface="Arial" pitchFamily="34" charset="0"/>
              </a:rPr>
              <a:t>Parts de l’utilisation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C84096C-90C8-4FA1-B23B-21F5936F9AB5}"/>
              </a:ext>
            </a:extLst>
          </p:cNvPr>
          <p:cNvSpPr txBox="1">
            <a:spLocks/>
          </p:cNvSpPr>
          <p:nvPr/>
        </p:nvSpPr>
        <p:spPr>
          <a:xfrm>
            <a:off x="9070058" y="5399132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BF9F3412-07EE-CF7C-181E-BA4B5DA84C5F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746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aq6byWRyGrSbF6Vi1ZR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847561-0CE6-407E-B2DD-66376DC90E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purl.org/dc/dcmitype/"/>
    <ds:schemaRef ds:uri="http://schemas.microsoft.com/office/2006/metadata/properties"/>
    <ds:schemaRef ds:uri="http://purl.org/dc/elements/1.1/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2f5c8543-cf23-4718-a3b8-32b0a91d511a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Énergie électrique pour l’exploitation ferroviaire en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ktrische Energie für den Bahnbetrieb im 2024.</dc:title>
  <dc:creator>Meyer Raphael (KOM-PGA-VSF)</dc:creator>
  <cp:lastModifiedBy>Weigel Stefan (PAR-EPS)</cp:lastModifiedBy>
  <cp:revision>60</cp:revision>
  <cp:lastPrinted>2024-02-16T09:19:57Z</cp:lastPrinted>
  <dcterms:created xsi:type="dcterms:W3CDTF">2020-09-30T11:00:09Z</dcterms:created>
  <dcterms:modified xsi:type="dcterms:W3CDTF">2026-03-03T13:15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